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22"/>
  </p:notesMasterIdLst>
  <p:sldIdLst>
    <p:sldId id="303" r:id="rId5"/>
    <p:sldId id="262" r:id="rId6"/>
    <p:sldId id="301" r:id="rId7"/>
    <p:sldId id="304" r:id="rId8"/>
    <p:sldId id="305" r:id="rId9"/>
    <p:sldId id="306" r:id="rId10"/>
    <p:sldId id="307" r:id="rId11"/>
    <p:sldId id="310" r:id="rId12"/>
    <p:sldId id="311" r:id="rId13"/>
    <p:sldId id="312" r:id="rId14"/>
    <p:sldId id="313" r:id="rId15"/>
    <p:sldId id="308" r:id="rId16"/>
    <p:sldId id="256" r:id="rId17"/>
    <p:sldId id="314" r:id="rId18"/>
    <p:sldId id="315" r:id="rId19"/>
    <p:sldId id="316" r:id="rId20"/>
    <p:sldId id="317" r:id="rId21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176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3206FE-9BFD-4040-B3A8-810363D5C411}" type="datetimeFigureOut">
              <a:rPr lang="en-US" smtClean="0"/>
              <a:t>5/8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3AFABF-79E9-4A8C-9653-7A5F5D5A11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7753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108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68110" y="340639"/>
            <a:ext cx="8637854" cy="5818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635" tIns="25635" rIns="25635" bIns="25635" rtlCol="0" anchor="ctr"/>
          <a:lstStyle/>
          <a:p>
            <a:pPr algn="ctr"/>
            <a:endParaRPr lang="en-US" sz="997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4769" y="1536675"/>
            <a:ext cx="3621202" cy="589709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275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4770" y="5064161"/>
            <a:ext cx="3621202" cy="534662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424" b="1">
                <a:solidFill>
                  <a:schemeClr val="accent2"/>
                </a:solidFill>
                <a:latin typeface="+mj-lt"/>
              </a:defRPr>
            </a:lvl1pPr>
            <a:lvl2pPr marL="3493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98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48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46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96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45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550531" y="347530"/>
            <a:ext cx="4355433" cy="5811235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635" tIns="25635" rIns="25635" bIns="25635" rtlCol="0" anchor="ctr"/>
          <a:lstStyle/>
          <a:p>
            <a:pPr algn="ctr"/>
            <a:endParaRPr lang="en-US" sz="1424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68111" y="6304779"/>
            <a:ext cx="2949276" cy="274320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139">
                <a:solidFill>
                  <a:schemeClr val="tx1"/>
                </a:solidFill>
                <a:latin typeface="+mj-lt"/>
              </a:defRPr>
            </a:lvl1pPr>
            <a:lvl2pPr marL="324419" indent="0">
              <a:buNone/>
              <a:defRPr/>
            </a:lvl2pPr>
            <a:lvl3pPr marL="544843" indent="0">
              <a:buNone/>
              <a:defRPr/>
            </a:lvl3pPr>
            <a:lvl4pPr marL="885494" indent="0">
              <a:buNone/>
              <a:defRPr/>
            </a:lvl4pPr>
            <a:lvl5pPr marL="1397518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550531" y="340639"/>
            <a:ext cx="4355433" cy="5824934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282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64689" y="892293"/>
            <a:ext cx="3188926" cy="429568"/>
          </a:xfrm>
        </p:spPr>
        <p:txBody>
          <a:bodyPr>
            <a:noAutofit/>
          </a:bodyPr>
          <a:lstStyle>
            <a:lvl1pPr marL="0" indent="0">
              <a:buNone/>
              <a:defRPr lang="en-US" sz="1139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975214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650558"/>
              </p:ext>
            </p:extLst>
          </p:nvPr>
        </p:nvGraphicFramePr>
        <p:xfrm>
          <a:off x="1507" y="1508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7" y="1508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717" cy="1507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563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39693" y="408560"/>
            <a:ext cx="8464615" cy="6100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24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62028" y="699913"/>
            <a:ext cx="4364901" cy="39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39693" y="432879"/>
            <a:ext cx="8464615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318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29229" y="175390"/>
            <a:ext cx="8885543" cy="6507219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279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1"/>
            <a:ext cx="9144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82">
                <a:solidFill>
                  <a:schemeClr val="tx2"/>
                </a:solidFill>
              </a:defRPr>
            </a:lvl1pPr>
            <a:lvl2pPr marL="325549" indent="0" algn="ctr">
              <a:buNone/>
              <a:defRPr sz="1424"/>
            </a:lvl2pPr>
            <a:lvl3pPr marL="651099" indent="0" algn="ctr">
              <a:buNone/>
              <a:defRPr sz="1282"/>
            </a:lvl3pPr>
            <a:lvl4pPr marL="976648" indent="0" algn="ctr">
              <a:buNone/>
              <a:defRPr sz="1139"/>
            </a:lvl4pPr>
            <a:lvl5pPr marL="1302197" indent="0" algn="ctr">
              <a:buNone/>
              <a:defRPr sz="1139"/>
            </a:lvl5pPr>
            <a:lvl6pPr marL="1627746" indent="0" algn="ctr">
              <a:buNone/>
              <a:defRPr sz="1139"/>
            </a:lvl6pPr>
            <a:lvl7pPr marL="1953296" indent="0" algn="ctr">
              <a:buNone/>
              <a:defRPr sz="1139"/>
            </a:lvl7pPr>
            <a:lvl8pPr marL="2278845" indent="0" algn="ctr">
              <a:buNone/>
              <a:defRPr sz="1139"/>
            </a:lvl8pPr>
            <a:lvl9pPr marL="2604394" indent="0" algn="ctr">
              <a:buNone/>
              <a:defRPr sz="1139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635" tIns="25635" rIns="25635" bIns="25635" numCol="1" spcCol="0" rtlCol="0" fromWordArt="0" anchor="ctr" anchorCtr="0" forceAA="0" compatLnSpc="1">
            <a:noAutofit/>
          </a:bodyPr>
          <a:lstStyle/>
          <a:p>
            <a:pPr algn="ctr"/>
            <a:endParaRPr lang="en-US" sz="1424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838970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634537"/>
            <a:ext cx="9144000" cy="3588923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275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17367" y="1925777"/>
            <a:ext cx="1106469" cy="1150358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2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2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2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2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6920117" y="2048551"/>
            <a:ext cx="1106469" cy="1150358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2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2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2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2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1"/>
            <a:ext cx="9144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82">
                <a:solidFill>
                  <a:schemeClr val="tx2"/>
                </a:solidFill>
              </a:defRPr>
            </a:lvl1pPr>
            <a:lvl2pPr marL="325549" indent="0" algn="ctr">
              <a:buNone/>
              <a:defRPr sz="1424"/>
            </a:lvl2pPr>
            <a:lvl3pPr marL="651099" indent="0" algn="ctr">
              <a:buNone/>
              <a:defRPr sz="1282"/>
            </a:lvl3pPr>
            <a:lvl4pPr marL="976648" indent="0" algn="ctr">
              <a:buNone/>
              <a:defRPr sz="1139"/>
            </a:lvl4pPr>
            <a:lvl5pPr marL="1302197" indent="0" algn="ctr">
              <a:buNone/>
              <a:defRPr sz="1139"/>
            </a:lvl5pPr>
            <a:lvl6pPr marL="1627746" indent="0" algn="ctr">
              <a:buNone/>
              <a:defRPr sz="1139"/>
            </a:lvl6pPr>
            <a:lvl7pPr marL="1953296" indent="0" algn="ctr">
              <a:buNone/>
              <a:defRPr sz="1139"/>
            </a:lvl7pPr>
            <a:lvl8pPr marL="2278845" indent="0" algn="ctr">
              <a:buNone/>
              <a:defRPr sz="1139"/>
            </a:lvl8pPr>
            <a:lvl9pPr marL="2604394" indent="0" algn="ctr">
              <a:buNone/>
              <a:defRPr sz="1139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635" tIns="25635" rIns="25635" bIns="25635" numCol="1" spcCol="0" rtlCol="0" fromWordArt="0" anchor="ctr" anchorCtr="0" forceAA="0" compatLnSpc="1">
            <a:noAutofit/>
          </a:bodyPr>
          <a:lstStyle/>
          <a:p>
            <a:pPr algn="ctr"/>
            <a:endParaRPr lang="en-US" sz="1424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62707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99057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8" indent="0" algn="ctr">
              <a:buNone/>
              <a:defRPr sz="1999"/>
            </a:lvl2pPr>
            <a:lvl3pPr marL="914316" indent="0" algn="ctr">
              <a:buNone/>
              <a:defRPr sz="1800"/>
            </a:lvl3pPr>
            <a:lvl4pPr marL="1371474" indent="0" algn="ctr">
              <a:buNone/>
              <a:defRPr sz="1600"/>
            </a:lvl4pPr>
            <a:lvl5pPr marL="1828632" indent="0" algn="ctr">
              <a:buNone/>
              <a:defRPr sz="1600"/>
            </a:lvl5pPr>
            <a:lvl6pPr marL="2285790" indent="0" algn="ctr">
              <a:buNone/>
              <a:defRPr sz="1600"/>
            </a:lvl6pPr>
            <a:lvl7pPr marL="2742948" indent="0" algn="ctr">
              <a:buNone/>
              <a:defRPr sz="1600"/>
            </a:lvl7pPr>
            <a:lvl8pPr marL="3200106" indent="0" algn="ctr">
              <a:buNone/>
              <a:defRPr sz="1600"/>
            </a:lvl8pPr>
            <a:lvl9pPr marL="365726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5/8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9255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342864" y="589037"/>
            <a:ext cx="7801136" cy="6268965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635" tIns="25635" rIns="25635" bIns="25635" rtlCol="0" anchor="ctr">
            <a:normAutofit/>
          </a:bodyPr>
          <a:lstStyle/>
          <a:p>
            <a:pPr algn="ctr"/>
            <a:endParaRPr lang="en-US" sz="1424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764997" y="877834"/>
            <a:ext cx="6181130" cy="156289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3845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64997" y="5785200"/>
            <a:ext cx="4836338" cy="6687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994" b="0">
                <a:solidFill>
                  <a:schemeClr val="accent3"/>
                </a:solidFill>
                <a:latin typeface="+mn-lt"/>
              </a:defRPr>
            </a:lvl1pPr>
            <a:lvl2pPr marL="3493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98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48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46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96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456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7661973" y="6152323"/>
            <a:ext cx="1089302" cy="301677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997">
                <a:solidFill>
                  <a:schemeClr val="accent3"/>
                </a:solidFill>
                <a:latin typeface="+mj-lt"/>
              </a:defRPr>
            </a:lvl1pPr>
            <a:lvl2pPr marL="324419" indent="0">
              <a:buNone/>
              <a:defRPr/>
            </a:lvl2pPr>
            <a:lvl3pPr marL="544843" indent="0">
              <a:buNone/>
              <a:defRPr/>
            </a:lvl3pPr>
            <a:lvl4pPr marL="885494" indent="0">
              <a:buNone/>
              <a:defRPr/>
            </a:lvl4pPr>
            <a:lvl5pPr marL="1397518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81767" y="6152323"/>
            <a:ext cx="1089302" cy="301677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997">
                <a:solidFill>
                  <a:schemeClr val="tx2"/>
                </a:solidFill>
                <a:latin typeface="+mj-lt"/>
              </a:defRPr>
            </a:lvl1pPr>
            <a:lvl2pPr marL="324419" indent="0">
              <a:buNone/>
              <a:defRPr/>
            </a:lvl2pPr>
            <a:lvl3pPr marL="544843" indent="0">
              <a:buNone/>
              <a:defRPr/>
            </a:lvl3pPr>
            <a:lvl4pPr marL="885494" indent="0">
              <a:buNone/>
              <a:defRPr/>
            </a:lvl4pPr>
            <a:lvl5pPr marL="1397518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342864" cy="58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423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922273"/>
              </p:ext>
            </p:extLst>
          </p:nvPr>
        </p:nvGraphicFramePr>
        <p:xfrm>
          <a:off x="1507" y="1508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7" y="1508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717" cy="1507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63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67345" y="538395"/>
            <a:ext cx="84646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917631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000809"/>
              </p:ext>
            </p:extLst>
          </p:nvPr>
        </p:nvGraphicFramePr>
        <p:xfrm>
          <a:off x="1507" y="1508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7" y="1508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717" cy="1507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63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345" y="6363469"/>
            <a:ext cx="948471" cy="21704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67345" y="1167549"/>
            <a:ext cx="8609310" cy="3303566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82" dirty="0"/>
          </a:p>
        </p:txBody>
      </p:sp>
      <p:sp>
        <p:nvSpPr>
          <p:cNvPr id="37" name="SlideNumber"/>
          <p:cNvSpPr/>
          <p:nvPr/>
        </p:nvSpPr>
        <p:spPr>
          <a:xfrm>
            <a:off x="8526169" y="6363471"/>
            <a:ext cx="350486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854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854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79732" y="6252279"/>
            <a:ext cx="8596923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67345" y="538395"/>
            <a:ext cx="84646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67346" y="432879"/>
            <a:ext cx="860930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731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424319"/>
              </p:ext>
            </p:extLst>
          </p:nvPr>
        </p:nvGraphicFramePr>
        <p:xfrm>
          <a:off x="1507" y="1508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7" y="1508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717" cy="1507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63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526169" y="6363471"/>
            <a:ext cx="350486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854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854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588246" y="6252279"/>
            <a:ext cx="7288409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247" y="6363469"/>
            <a:ext cx="948471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588246" y="538395"/>
            <a:ext cx="5041886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588246" y="440320"/>
            <a:ext cx="728840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7881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271755"/>
              </p:ext>
            </p:extLst>
          </p:nvPr>
        </p:nvGraphicFramePr>
        <p:xfrm>
          <a:off x="1507" y="1508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7" y="1508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717" cy="1507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63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410343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635" tIns="25635" rIns="25635" bIns="25635" rtlCol="0" anchor="ctr"/>
          <a:lstStyle/>
          <a:p>
            <a:pPr algn="ctr"/>
            <a:endParaRPr lang="en-US" sz="1424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526169" y="6363471"/>
            <a:ext cx="350486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854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854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690074" y="6252279"/>
            <a:ext cx="51865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074" y="6363469"/>
            <a:ext cx="948471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690074" y="538395"/>
            <a:ext cx="5041886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690074" y="432881"/>
            <a:ext cx="518658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4319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410343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635" tIns="25635" rIns="25635" bIns="25635" rtlCol="0" anchor="ctr"/>
          <a:lstStyle/>
          <a:p>
            <a:pPr algn="ctr"/>
            <a:endParaRPr lang="en-US" sz="1424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526169" y="6363471"/>
            <a:ext cx="350486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854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854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690074" y="6252279"/>
            <a:ext cx="51865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074" y="6363469"/>
            <a:ext cx="948471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690074" y="538395"/>
            <a:ext cx="5041886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690074" y="432881"/>
            <a:ext cx="518658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1858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67346" y="432879"/>
            <a:ext cx="440891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4922500" y="1"/>
            <a:ext cx="4221501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635" tIns="25635" rIns="25635" bIns="25635" rtlCol="0" anchor="ctr"/>
          <a:lstStyle/>
          <a:p>
            <a:pPr algn="ctr"/>
            <a:endParaRPr lang="en-US" sz="1424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296173" y="6363471"/>
            <a:ext cx="350486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854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854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79730" y="6252279"/>
            <a:ext cx="4366929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731" y="6363469"/>
            <a:ext cx="948471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64932" y="538395"/>
            <a:ext cx="439652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8047036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4922500" y="1"/>
            <a:ext cx="4221501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635" tIns="25635" rIns="25635" bIns="25635" rtlCol="0" anchor="ctr"/>
          <a:lstStyle/>
          <a:p>
            <a:pPr algn="ctr"/>
            <a:endParaRPr lang="en-US" sz="1424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296173" y="6363471"/>
            <a:ext cx="350486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854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854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79730" y="6252279"/>
            <a:ext cx="4366929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67346" y="538395"/>
            <a:ext cx="439652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79731" y="432879"/>
            <a:ext cx="4396525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67346" y="432879"/>
            <a:ext cx="440891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013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93856760"/>
              </p:ext>
            </p:extLst>
          </p:nvPr>
        </p:nvGraphicFramePr>
        <p:xfrm>
          <a:off x="1131" y="1508"/>
          <a:ext cx="1131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20" imgW="473" imgH="473" progId="TCLayout.ActiveDocument.1">
                  <p:embed/>
                </p:oleObj>
              </mc:Choice>
              <mc:Fallback>
                <p:oleObj name="think-cell Slide" r:id="rId2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31" y="1508"/>
                        <a:ext cx="1131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345" y="6363469"/>
            <a:ext cx="948471" cy="217044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67345" y="538395"/>
            <a:ext cx="84646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>
          <a:xfrm>
            <a:off x="267346" y="1213751"/>
            <a:ext cx="8477219" cy="440014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526169" y="6363471"/>
            <a:ext cx="350486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854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854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67346" y="432879"/>
            <a:ext cx="860930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79732" y="6252279"/>
            <a:ext cx="8596923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7"/>
    </p:custDataLst>
    <p:extLst>
      <p:ext uri="{BB962C8B-B14F-4D97-AF65-F5344CB8AC3E}">
        <p14:creationId xmlns:p14="http://schemas.microsoft.com/office/powerpoint/2010/main" val="2634942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6" r:id="rId13"/>
    <p:sldLayoutId id="2147483687" r:id="rId14"/>
  </p:sldLayoutIdLst>
  <p:txStyles>
    <p:titleStyle>
      <a:lvl1pPr algn="l" defTabSz="698759" rtl="0" eaLnBrk="1" latinLnBrk="0" hangingPunct="1">
        <a:spcBef>
          <a:spcPct val="0"/>
        </a:spcBef>
        <a:buNone/>
        <a:defRPr sz="256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295" marR="0" indent="-193295" algn="l" defTabSz="698574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282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09197" marR="0" indent="-84779" algn="l" defTabSz="698574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139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49442" marR="0" indent="-204599" algn="l" defTabSz="698574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139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35247" marR="0" indent="-149753" algn="l" defTabSz="698759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139" kern="1200">
          <a:solidFill>
            <a:schemeClr val="tx1"/>
          </a:solidFill>
          <a:latin typeface="+mn-lt"/>
          <a:ea typeface="+mn-ea"/>
          <a:cs typeface="+mn-cs"/>
        </a:defRPr>
      </a:lvl4pPr>
      <a:lvl5pPr marL="1572208" indent="-174691" algn="l" defTabSz="698759" rtl="0" eaLnBrk="1" latinLnBrk="0" hangingPunct="1">
        <a:spcBef>
          <a:spcPct val="20000"/>
        </a:spcBef>
        <a:buFont typeface="Arial" pitchFamily="34" charset="0"/>
        <a:buChar char="»"/>
        <a:defRPr sz="1709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1921587" indent="-174691" algn="l" defTabSz="698759" rtl="0" eaLnBrk="1" latinLnBrk="0" hangingPunct="1">
        <a:spcBef>
          <a:spcPct val="20000"/>
        </a:spcBef>
        <a:buFont typeface="Arial" pitchFamily="34" charset="0"/>
        <a:buChar char="•"/>
        <a:defRPr sz="1495" kern="1200">
          <a:solidFill>
            <a:schemeClr val="tx1"/>
          </a:solidFill>
          <a:latin typeface="+mn-lt"/>
          <a:ea typeface="+mn-ea"/>
          <a:cs typeface="+mn-cs"/>
        </a:defRPr>
      </a:lvl6pPr>
      <a:lvl7pPr marL="2270967" indent="-174691" algn="l" defTabSz="698759" rtl="0" eaLnBrk="1" latinLnBrk="0" hangingPunct="1">
        <a:spcBef>
          <a:spcPct val="20000"/>
        </a:spcBef>
        <a:buFont typeface="Arial" pitchFamily="34" charset="0"/>
        <a:buChar char="•"/>
        <a:defRPr sz="1495" kern="1200">
          <a:solidFill>
            <a:schemeClr val="tx1"/>
          </a:solidFill>
          <a:latin typeface="+mn-lt"/>
          <a:ea typeface="+mn-ea"/>
          <a:cs typeface="+mn-cs"/>
        </a:defRPr>
      </a:lvl7pPr>
      <a:lvl8pPr marL="2620346" indent="-174691" algn="l" defTabSz="698759" rtl="0" eaLnBrk="1" latinLnBrk="0" hangingPunct="1">
        <a:spcBef>
          <a:spcPct val="20000"/>
        </a:spcBef>
        <a:buFont typeface="Arial" pitchFamily="34" charset="0"/>
        <a:buChar char="•"/>
        <a:defRPr sz="1495" kern="1200">
          <a:solidFill>
            <a:schemeClr val="tx1"/>
          </a:solidFill>
          <a:latin typeface="+mn-lt"/>
          <a:ea typeface="+mn-ea"/>
          <a:cs typeface="+mn-cs"/>
        </a:defRPr>
      </a:lvl8pPr>
      <a:lvl9pPr marL="2969726" indent="-174691" algn="l" defTabSz="698759" rtl="0" eaLnBrk="1" latinLnBrk="0" hangingPunct="1">
        <a:spcBef>
          <a:spcPct val="20000"/>
        </a:spcBef>
        <a:buFont typeface="Arial" pitchFamily="34" charset="0"/>
        <a:buChar char="•"/>
        <a:defRPr sz="14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8759" rtl="0" eaLnBrk="1" latinLnBrk="0" hangingPunct="1">
        <a:defRPr sz="1282" kern="1200">
          <a:solidFill>
            <a:schemeClr val="tx1"/>
          </a:solidFill>
          <a:latin typeface="+mn-lt"/>
          <a:ea typeface="+mn-ea"/>
          <a:cs typeface="+mn-cs"/>
        </a:defRPr>
      </a:lvl1pPr>
      <a:lvl2pPr marL="349379" algn="l" defTabSz="698759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98759" algn="l" defTabSz="698759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48139" algn="l" defTabSz="698759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97518" algn="l" defTabSz="698759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46897" algn="l" defTabSz="698759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96277" algn="l" defTabSz="698759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45656" algn="l" defTabSz="698759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95035" algn="l" defTabSz="698759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40" y="177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40" y="177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" y="857391"/>
            <a:ext cx="9143497" cy="514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5770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1431449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Top 10 AP Exam Tips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for AP Stat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62204" y="2011086"/>
            <a:ext cx="8894228" cy="364291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fontAlgn="base"/>
            <a:r>
              <a:rPr lang="en-US" sz="2800" b="1" dirty="0"/>
              <a:t>8: Know the formula sheet</a:t>
            </a:r>
          </a:p>
          <a:p>
            <a:pPr fontAlgn="base"/>
            <a:endParaRPr lang="en-US" sz="2800" b="1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New for 2020: Geometric random variables, standard deviation and standard error clearly identified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Be able to quickly find what you need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Know which table is used when. Table A (sometimes called a Z Table), Table B (sometimes called a T Table)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sz="2800" dirty="0"/>
            </a:b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71971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1431449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Top 10 AP Exam Tips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for AP Stat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62204" y="2011086"/>
            <a:ext cx="8894228" cy="364291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fontAlgn="base"/>
            <a:r>
              <a:rPr lang="en-US" sz="2800" b="1" dirty="0"/>
              <a:t>9: Know your inference</a:t>
            </a:r>
          </a:p>
          <a:p>
            <a:pPr fontAlgn="base"/>
            <a:endParaRPr lang="en-US" sz="2800" b="1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Means or proportions?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One sample or two samples?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Confidence interval or significances test?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Paired t-test or two sample t test?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Z Table or a T Table?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sz="2800" dirty="0"/>
            </a:b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075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1431449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Top 10 AP Exam Tips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for AP Stat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62204" y="2011086"/>
            <a:ext cx="8894228" cy="364291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fontAlgn="base"/>
            <a:r>
              <a:rPr lang="en-US" sz="2800" b="1" dirty="0"/>
              <a:t>10: Be confident! Be ready!</a:t>
            </a:r>
          </a:p>
          <a:p>
            <a:pPr fontAlgn="base"/>
            <a:endParaRPr lang="en-US" sz="2800" b="1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Take a Practice Exam to increase confidence.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You have done the work (especially if you have been with us on YouTube)!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ee next slide for the 5 Steps to get ready for the AP Exams.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Look at this exam as a way to show how much you have learned all year, you have already done all the hard work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sz="2800" dirty="0"/>
            </a:b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10578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260AC5-4F6A-48E8-ADD1-31657AEFDF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4" imgW="301" imgH="298" progId="TCLayout.ActiveDocument.1">
                  <p:embed/>
                </p:oleObj>
              </mc:Choice>
              <mc:Fallback>
                <p:oleObj name="think-cell Slide" r:id="rId4" imgW="301" imgH="29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260AC5-4F6A-48E8-ADD1-31657AEFDF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0139177A-C808-4385-99E4-20B3D6808F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03"/>
          <a:stretch/>
        </p:blipFill>
        <p:spPr bwMode="auto">
          <a:xfrm>
            <a:off x="2379" y="-6294"/>
            <a:ext cx="4590751" cy="6864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677C63E-8042-48FF-9951-AFEB38D8A4C2}"/>
              </a:ext>
            </a:extLst>
          </p:cNvPr>
          <p:cNvSpPr/>
          <p:nvPr/>
        </p:nvSpPr>
        <p:spPr>
          <a:xfrm>
            <a:off x="4593129" y="2845067"/>
            <a:ext cx="454849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Roboto"/>
                <a:ea typeface="Times New Roman" panose="02020603050405020304" pitchFamily="18" charset="0"/>
              </a:rPr>
              <a:t>Be sure to do these 5 things </a:t>
            </a:r>
          </a:p>
          <a:p>
            <a:pPr algn="ctr"/>
            <a:r>
              <a:rPr lang="en-US" dirty="0">
                <a:latin typeface="Roboto"/>
                <a:ea typeface="Times New Roman" panose="02020603050405020304" pitchFamily="18" charset="0"/>
              </a:rPr>
              <a:t>before your exam.</a:t>
            </a:r>
            <a:br>
              <a:rPr lang="en-US" dirty="0">
                <a:latin typeface="Roboto"/>
                <a:ea typeface="Times New Roman" panose="02020603050405020304" pitchFamily="18" charset="0"/>
              </a:rPr>
            </a:br>
            <a:endParaRPr lang="en-US" dirty="0">
              <a:latin typeface="Roboto"/>
              <a:ea typeface="Times New Roman" panose="02020603050405020304" pitchFamily="18" charset="0"/>
            </a:endParaRPr>
          </a:p>
          <a:p>
            <a:pPr algn="ctr"/>
            <a:r>
              <a:rPr lang="en-US" b="1" dirty="0">
                <a:solidFill>
                  <a:srgbClr val="0070C0"/>
                </a:solidFill>
                <a:latin typeface="Roboto"/>
              </a:rPr>
              <a:t>cb.org/ap2020getready</a:t>
            </a:r>
            <a:r>
              <a:rPr lang="en-US" b="1" dirty="0">
                <a:solidFill>
                  <a:srgbClr val="0070C0"/>
                </a:solidFill>
                <a:latin typeface="Roboto"/>
                <a:ea typeface="Times New Roman" panose="02020603050405020304" pitchFamily="18" charset="0"/>
              </a:rPr>
              <a:t> </a:t>
            </a:r>
            <a:endParaRPr lang="en-US" b="1" dirty="0">
              <a:solidFill>
                <a:srgbClr val="0070C0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0847297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2"/>
            <a:ext cx="8455055" cy="786114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2020 AP Exam Prediction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124886" y="1538120"/>
            <a:ext cx="8894228" cy="49971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2800" b="1" dirty="0"/>
              <a:t>FRQ #1 will have 5 - 6 parts. FRQ #2 will have 4 - 5 parts.</a:t>
            </a: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2800" b="1" dirty="0"/>
              <a:t>The two FRQs will cover all the units in the CED (Units 1 – 7).</a:t>
            </a: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2800" b="1" dirty="0"/>
              <a:t>One FRQ will use means and one FRQ will use proportions.</a:t>
            </a: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2800" b="1" dirty="0"/>
              <a:t>One FRQ will include a confidence interval and one FRQ will include a significance test.</a:t>
            </a: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2800" b="1" dirty="0"/>
              <a:t>One FRQ will be a 1-sample scenario and one FRQ will be a 2-sample scenario.</a:t>
            </a:r>
          </a:p>
          <a:p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33431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2"/>
            <a:ext cx="8455055" cy="786114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2020 AP Exam Prediction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124886" y="1538120"/>
            <a:ext cx="8894228" cy="155003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2800" b="1" dirty="0"/>
              <a:t>What topic would you really like to see on the AP Stats exam this year?</a:t>
            </a:r>
          </a:p>
          <a:p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9528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2"/>
            <a:ext cx="8455055" cy="786114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YouTube Live Reflection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124886" y="1538120"/>
            <a:ext cx="8894228" cy="155003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2800" b="1" dirty="0"/>
              <a:t>What is one memory that you will take away from this whole YouTube Live experience?</a:t>
            </a:r>
          </a:p>
          <a:p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34045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2"/>
            <a:ext cx="8455055" cy="786114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GOOD LUCK AP STATS STUDENTS!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124886" y="2063637"/>
            <a:ext cx="8894228" cy="284269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2800" b="1" dirty="0"/>
              <a:t>We have really enjoyed the opportunity to be part of your AP Stats journey for this crazy school year.</a:t>
            </a:r>
          </a:p>
          <a:p>
            <a:pPr marL="457200" indent="-457200" fontAlgn="base">
              <a:buFont typeface="Arial" panose="020B0604020202020204" pitchFamily="34" charset="0"/>
              <a:buChar char="•"/>
            </a:pPr>
            <a:r>
              <a:rPr lang="en-US" sz="2800" b="1" dirty="0"/>
              <a:t>Know that Mr. Wilcox and Mr. Murphy are rooting for you on the AP Exam!</a:t>
            </a:r>
          </a:p>
          <a:p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54198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293885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31833" y="1112456"/>
            <a:ext cx="8627268" cy="52537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5635" tIns="25635" rIns="25635" bIns="25635" rtlCol="0">
            <a:spAutoFit/>
          </a:bodyPr>
          <a:lstStyle/>
          <a:p>
            <a:pPr defTabSz="868131">
              <a:defRPr/>
            </a:pPr>
            <a:r>
              <a:rPr lang="en-US" sz="2279" b="1" dirty="0">
                <a:solidFill>
                  <a:srgbClr val="1E1E1E"/>
                </a:solidFill>
              </a:rPr>
              <a:t>Welcome to our last AP Statistics Virtual Instruction Session!!</a:t>
            </a:r>
          </a:p>
          <a:p>
            <a:pPr defTabSz="868131">
              <a:defRPr/>
            </a:pPr>
            <a:endParaRPr lang="en-US" sz="1329" b="1" dirty="0">
              <a:solidFill>
                <a:srgbClr val="1E1E1E"/>
              </a:solidFill>
            </a:endParaRPr>
          </a:p>
          <a:p>
            <a:pPr defTabSz="868131">
              <a:defRPr/>
            </a:pPr>
            <a:endParaRPr lang="en-US" sz="1329" b="1" dirty="0">
              <a:solidFill>
                <a:srgbClr val="1E1E1E"/>
              </a:solidFill>
            </a:endParaRPr>
          </a:p>
          <a:p>
            <a:pPr defTabSz="868131">
              <a:defRPr/>
            </a:pPr>
            <a:endParaRPr lang="en-US" sz="1899" dirty="0">
              <a:solidFill>
                <a:srgbClr val="1E1E1E"/>
              </a:solidFill>
              <a:latin typeface="Roboto"/>
            </a:endParaRPr>
          </a:p>
          <a:p>
            <a:pPr defTabSz="868131">
              <a:defRPr/>
            </a:pPr>
            <a:r>
              <a:rPr lang="en-US" sz="1899" dirty="0">
                <a:solidFill>
                  <a:srgbClr val="1E1E1E"/>
                </a:solidFill>
                <a:latin typeface="Roboto"/>
              </a:rPr>
              <a:t>Brendan Murphy</a:t>
            </a:r>
          </a:p>
          <a:p>
            <a:pPr defTabSz="868131">
              <a:defRPr/>
            </a:pPr>
            <a:r>
              <a:rPr lang="en-US" sz="1899" dirty="0">
                <a:solidFill>
                  <a:srgbClr val="1E1E1E"/>
                </a:solidFill>
                <a:latin typeface="Roboto"/>
              </a:rPr>
              <a:t>John </a:t>
            </a:r>
            <a:r>
              <a:rPr lang="en-US" sz="1899" dirty="0" err="1">
                <a:solidFill>
                  <a:srgbClr val="1E1E1E"/>
                </a:solidFill>
                <a:latin typeface="Roboto"/>
              </a:rPr>
              <a:t>Bapst</a:t>
            </a:r>
            <a:r>
              <a:rPr lang="en-US" sz="1899" dirty="0">
                <a:solidFill>
                  <a:srgbClr val="1E1E1E"/>
                </a:solidFill>
                <a:latin typeface="Roboto"/>
              </a:rPr>
              <a:t> Memorial High School</a:t>
            </a:r>
          </a:p>
          <a:p>
            <a:pPr defTabSz="868131">
              <a:defRPr/>
            </a:pPr>
            <a:r>
              <a:rPr lang="en-US" sz="1899" dirty="0">
                <a:solidFill>
                  <a:srgbClr val="1E1E1E"/>
                </a:solidFill>
                <a:latin typeface="Roboto"/>
              </a:rPr>
              <a:t>Bangor, ME</a:t>
            </a:r>
          </a:p>
          <a:p>
            <a:pPr defTabSz="868131">
              <a:defRPr/>
            </a:pPr>
            <a:endParaRPr lang="en-US" sz="1899" dirty="0">
              <a:solidFill>
                <a:srgbClr val="1E1E1E"/>
              </a:solidFill>
              <a:latin typeface="Roboto"/>
            </a:endParaRPr>
          </a:p>
          <a:p>
            <a:pPr defTabSz="868131">
              <a:defRPr/>
            </a:pPr>
            <a:endParaRPr lang="en-US" sz="1899" dirty="0">
              <a:solidFill>
                <a:srgbClr val="1E1E1E"/>
              </a:solidFill>
              <a:latin typeface="Roboto"/>
            </a:endParaRPr>
          </a:p>
          <a:p>
            <a:pPr defTabSz="868131">
              <a:defRPr/>
            </a:pPr>
            <a:endParaRPr lang="en-US" sz="1899" dirty="0">
              <a:solidFill>
                <a:srgbClr val="1E1E1E"/>
              </a:solidFill>
              <a:latin typeface="Roboto"/>
            </a:endParaRPr>
          </a:p>
          <a:p>
            <a:pPr defTabSz="868131">
              <a:defRPr/>
            </a:pPr>
            <a:endParaRPr lang="en-US" sz="1899" dirty="0">
              <a:solidFill>
                <a:srgbClr val="1E1E1E"/>
              </a:solidFill>
              <a:latin typeface="Roboto"/>
            </a:endParaRPr>
          </a:p>
          <a:p>
            <a:pPr defTabSz="868131">
              <a:defRPr/>
            </a:pPr>
            <a:r>
              <a:rPr lang="en-US" sz="1899" dirty="0">
                <a:solidFill>
                  <a:srgbClr val="1E1E1E"/>
                </a:solidFill>
                <a:latin typeface="Roboto"/>
              </a:rPr>
              <a:t>Luke Wilcox</a:t>
            </a:r>
          </a:p>
          <a:p>
            <a:pPr defTabSz="868131">
              <a:defRPr/>
            </a:pPr>
            <a:r>
              <a:rPr lang="en-US" sz="1899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defTabSz="868131">
              <a:defRPr/>
            </a:pPr>
            <a:r>
              <a:rPr lang="en-US" sz="1899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defTabSz="868131">
              <a:defRPr/>
            </a:pPr>
            <a:endParaRPr lang="en-US" sz="1329" dirty="0">
              <a:solidFill>
                <a:srgbClr val="1E1E1E"/>
              </a:solidFill>
              <a:latin typeface="Roboto"/>
            </a:endParaRPr>
          </a:p>
          <a:p>
            <a:pPr defTabSz="868131">
              <a:defRPr/>
            </a:pPr>
            <a:endParaRPr lang="en-US" sz="1329" dirty="0">
              <a:solidFill>
                <a:srgbClr val="1E1E1E"/>
              </a:solidFill>
              <a:latin typeface="Roboto"/>
            </a:endParaRPr>
          </a:p>
          <a:p>
            <a:pPr defTabSz="868131">
              <a:defRPr/>
            </a:pPr>
            <a:endParaRPr lang="en-US" sz="1329" dirty="0">
              <a:solidFill>
                <a:srgbClr val="1E1E1E"/>
              </a:solidFill>
              <a:latin typeface="Roboto"/>
            </a:endParaRPr>
          </a:p>
          <a:p>
            <a:pPr defTabSz="868131">
              <a:defRPr/>
            </a:pPr>
            <a:endParaRPr lang="en-US" sz="1329" dirty="0">
              <a:solidFill>
                <a:srgbClr val="1E1E1E"/>
              </a:solidFill>
              <a:latin typeface="Roboto"/>
            </a:endParaRPr>
          </a:p>
          <a:p>
            <a:pPr defTabSz="868131">
              <a:defRPr/>
            </a:pPr>
            <a:endParaRPr lang="en-US" sz="1329" dirty="0">
              <a:solidFill>
                <a:srgbClr val="1E1E1E"/>
              </a:solidFill>
              <a:latin typeface="Roboto"/>
            </a:endParaRPr>
          </a:p>
          <a:p>
            <a:pPr defTabSz="868131">
              <a:defRPr/>
            </a:pPr>
            <a:endParaRPr lang="en-US" sz="1329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72243" y="1984240"/>
            <a:ext cx="1174271" cy="1755070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72242" y="4246548"/>
            <a:ext cx="1174272" cy="1644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0149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1431449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Top 10 AP Exam Tips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for AP Stat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62204" y="2011086"/>
            <a:ext cx="8894228" cy="111914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fontAlgn="base"/>
            <a:r>
              <a:rPr lang="en-US" sz="2800" b="1" dirty="0"/>
              <a:t>1: Clearly communicate your understanding</a:t>
            </a:r>
          </a:p>
          <a:p>
            <a:br>
              <a:rPr lang="en-US" sz="2000" dirty="0"/>
            </a:br>
            <a:endParaRPr lang="en-US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941343-F97F-684C-AFA0-B7BE61DF3F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290" y="2668338"/>
            <a:ext cx="8812167" cy="63291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32319E6-0025-EC49-A5E1-5617DE6462BB}"/>
              </a:ext>
            </a:extLst>
          </p:cNvPr>
          <p:cNvSpPr txBox="1"/>
          <p:nvPr/>
        </p:nvSpPr>
        <p:spPr>
          <a:xfrm>
            <a:off x="62204" y="3321398"/>
            <a:ext cx="8894228" cy="188858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You can communicate your understanding using formulas, calculations, or words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A correct answers with no work most often will not earn full credit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Write what you need and then be don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75570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1431449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Top 10 AP Exam Tips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for AP Stat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62204" y="2011086"/>
            <a:ext cx="8894228" cy="308891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fontAlgn="base"/>
            <a:r>
              <a:rPr lang="en-US" sz="2800" b="1" dirty="0"/>
              <a:t>2: Always include context in your answers</a:t>
            </a:r>
          </a:p>
          <a:p>
            <a:pPr fontAlgn="base"/>
            <a:endParaRPr lang="en-US" sz="2800" b="1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Describe a distribution.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Describe the relationship between two variables.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“IT” is inappropriate language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sz="2800" dirty="0"/>
            </a:b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601058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1431449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Top 10 AP Exam Tips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for AP Stat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62204" y="2011086"/>
            <a:ext cx="8894228" cy="364291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fontAlgn="base"/>
            <a:r>
              <a:rPr lang="en-US" sz="2800" b="1" dirty="0"/>
              <a:t>3: </a:t>
            </a:r>
            <a:r>
              <a:rPr lang="en-US" sz="2800" b="1"/>
              <a:t>Be specific </a:t>
            </a:r>
            <a:r>
              <a:rPr lang="en-US" sz="2800" b="1" dirty="0"/>
              <a:t>in your language and vocabulary</a:t>
            </a:r>
          </a:p>
          <a:p>
            <a:pPr fontAlgn="base"/>
            <a:endParaRPr lang="en-US" sz="2800" b="1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ome terms have very specific statistical meaning: significant, accurate, skewed, biased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tratified versus blocking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Precise versus accurate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Population distribution versus sampling distribution vs. sample distribution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sz="2800" dirty="0"/>
            </a:b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29206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1431449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Top 10 AP Exam Tips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for AP Stat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62204" y="2011086"/>
            <a:ext cx="8894228" cy="308891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fontAlgn="base"/>
            <a:r>
              <a:rPr lang="en-US" sz="2800" b="1" dirty="0"/>
              <a:t>4: Use appropriate notation</a:t>
            </a:r>
          </a:p>
          <a:p>
            <a:pPr fontAlgn="base"/>
            <a:endParaRPr lang="en-US" sz="2800" b="1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Know the difference between a statistic (sample) and a parameter (population)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Be sure to define your parameters.</a:t>
            </a:r>
            <a:endParaRPr lang="en-US" i="1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i="1" dirty="0"/>
              <a:t>z</a:t>
            </a:r>
            <a:r>
              <a:rPr lang="en-US" dirty="0"/>
              <a:t> versus </a:t>
            </a:r>
            <a:r>
              <a:rPr lang="en-US" i="1" dirty="0"/>
              <a:t>t</a:t>
            </a:r>
            <a:endParaRPr lang="en-US" dirty="0"/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sz="2800" dirty="0"/>
            </a:b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58325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1431449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Top 10 AP Exam Tips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for AP Stat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62204" y="2011086"/>
            <a:ext cx="8894228" cy="308891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fontAlgn="base"/>
            <a:r>
              <a:rPr lang="en-US" sz="2800" b="1" dirty="0"/>
              <a:t>5: Prepare your workspace</a:t>
            </a:r>
          </a:p>
          <a:p>
            <a:pPr fontAlgn="base"/>
            <a:endParaRPr lang="en-US" sz="2800" b="1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Print out the new 2020 Formula Sheet and Tables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Have your charged calculator ready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tudy in the place where you will take the exam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sz="2800" dirty="0"/>
            </a:b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47139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1431449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Top 10 AP Exam Tips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for AP Stat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62204" y="2011086"/>
            <a:ext cx="8894228" cy="391991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fontAlgn="base"/>
            <a:r>
              <a:rPr lang="en-US" sz="2800" b="1" dirty="0"/>
              <a:t>6: Manage your time</a:t>
            </a:r>
          </a:p>
          <a:p>
            <a:pPr fontAlgn="base"/>
            <a:endParaRPr lang="en-US" sz="2800" b="1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Login 30 minutes early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FRQ #1 is 25 minutes with 5 minutes to upload, FRQ #2 is 15 minutes with 5 minutes to upload.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Don’t spend too much time on one part.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Watch the clock/timer on the exam, when it turns red you have 5 minutes to upload your answer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sz="2800" dirty="0"/>
            </a:b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00504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1" y="858417"/>
          <a:ext cx="1131" cy="11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1" y="858417"/>
                        <a:ext cx="1131" cy="11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86"/>
            <a:ext cx="113042" cy="113042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8131">
              <a:defRPr/>
            </a:pPr>
            <a:endParaRPr lang="en-US" sz="2563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833" y="580231"/>
            <a:ext cx="8455055" cy="1431449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Top 10 AP Exam Tips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for AP Stats</a:t>
            </a: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62204" y="2011086"/>
            <a:ext cx="8894228" cy="419690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fontAlgn="base"/>
            <a:r>
              <a:rPr lang="en-US" sz="2800" b="1" dirty="0"/>
              <a:t>7: Don’t leave anything blank</a:t>
            </a:r>
          </a:p>
          <a:p>
            <a:pPr fontAlgn="base"/>
            <a:endParaRPr lang="en-US" sz="2800" b="1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Don’t stress if you struggle on one or two parts. You can still earn a 5.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Partial answers earn partial credit. 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No penalty for guessing.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If you are stuck and one part and need the answer for the next part, make up a reasonable answer.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Attempt all parts of each problem, you might be able to do parts </a:t>
            </a:r>
            <a:r>
              <a:rPr lang="en-US" dirty="0" err="1"/>
              <a:t>c,d</a:t>
            </a:r>
            <a:r>
              <a:rPr lang="en-US" dirty="0"/>
              <a:t> for example even if you did not like/understand parts </a:t>
            </a:r>
            <a:r>
              <a:rPr lang="en-US" dirty="0" err="1"/>
              <a:t>a,b</a:t>
            </a:r>
            <a:r>
              <a:rPr lang="en-US" dirty="0"/>
              <a:t>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dirty="0"/>
          </a:p>
          <a:p>
            <a:br>
              <a:rPr lang="en-US" sz="2800" dirty="0"/>
            </a:b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685107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3CB55B3EA6864E8B10612A60F18411" ma:contentTypeVersion="12" ma:contentTypeDescription="Create a new document." ma:contentTypeScope="" ma:versionID="5443e62285d98c2b5a87b23db5c24b66">
  <xsd:schema xmlns:xsd="http://www.w3.org/2001/XMLSchema" xmlns:xs="http://www.w3.org/2001/XMLSchema" xmlns:p="http://schemas.microsoft.com/office/2006/metadata/properties" xmlns:ns3="5a5f2287-8842-4a53-9bdd-c44d57b45ed6" xmlns:ns4="90393af2-457d-4a81-8fff-4d7f92556021" targetNamespace="http://schemas.microsoft.com/office/2006/metadata/properties" ma:root="true" ma:fieldsID="78adf2cfec0a5bfbb2969c067b493b9f" ns3:_="" ns4:_="">
    <xsd:import namespace="5a5f2287-8842-4a53-9bdd-c44d57b45ed6"/>
    <xsd:import namespace="90393af2-457d-4a81-8fff-4d7f9255602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OCR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5f2287-8842-4a53-9bdd-c44d57b45ed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393af2-457d-4a81-8fff-4d7f925560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402D2BF-8878-4A3F-8E5B-E944B966915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C9366B9-5BF7-4100-87AF-2EED23B42A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5f2287-8842-4a53-9bdd-c44d57b45ed6"/>
    <ds:schemaRef ds:uri="90393af2-457d-4a81-8fff-4d7f925560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F7ABE14-C0E0-4441-AFC8-597A19086FA9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46</TotalTime>
  <Words>809</Words>
  <Application>Microsoft Macintosh PowerPoint</Application>
  <PresentationFormat>On-screen Show (4:3)</PresentationFormat>
  <Paragraphs>126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Top 10 AP Exam Tips for AP Stats</vt:lpstr>
      <vt:lpstr>Top 10 AP Exam Tips for AP Stats</vt:lpstr>
      <vt:lpstr>Top 10 AP Exam Tips for AP Stats</vt:lpstr>
      <vt:lpstr>Top 10 AP Exam Tips for AP Stats</vt:lpstr>
      <vt:lpstr>Top 10 AP Exam Tips for AP Stats</vt:lpstr>
      <vt:lpstr>Top 10 AP Exam Tips for AP Stats</vt:lpstr>
      <vt:lpstr>Top 10 AP Exam Tips for AP Stats</vt:lpstr>
      <vt:lpstr>Top 10 AP Exam Tips for AP Stats</vt:lpstr>
      <vt:lpstr>Top 10 AP Exam Tips for AP Stats</vt:lpstr>
      <vt:lpstr>Top 10 AP Exam Tips for AP Stats</vt:lpstr>
      <vt:lpstr>PowerPoint Presentation</vt:lpstr>
      <vt:lpstr>2020 AP Exam Predictions</vt:lpstr>
      <vt:lpstr>2020 AP Exam Predictions</vt:lpstr>
      <vt:lpstr>YouTube Live Reflection</vt:lpstr>
      <vt:lpstr>GOOD LUCK AP STATS STUDENT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renz, Claire</dc:creator>
  <cp:lastModifiedBy>Luke Wilcox</cp:lastModifiedBy>
  <cp:revision>59</cp:revision>
  <cp:lastPrinted>2020-05-08T11:14:01Z</cp:lastPrinted>
  <dcterms:created xsi:type="dcterms:W3CDTF">2020-03-23T01:19:25Z</dcterms:created>
  <dcterms:modified xsi:type="dcterms:W3CDTF">2020-05-08T11:3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3CB55B3EA6864E8B10612A60F18411</vt:lpwstr>
  </property>
</Properties>
</file>